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6"/>
  </p:notesMasterIdLst>
  <p:sldIdLst>
    <p:sldId id="353" r:id="rId5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588"/>
    <a:srgbClr val="B0E3E2"/>
    <a:srgbClr val="B518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0503" autoAdjust="0"/>
  </p:normalViewPr>
  <p:slideViewPr>
    <p:cSldViewPr snapToGrid="0">
      <p:cViewPr varScale="1">
        <p:scale>
          <a:sx n="92" d="100"/>
          <a:sy n="92" d="100"/>
        </p:scale>
        <p:origin x="127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F76543-5EF1-DA4A-8415-0A3EFD492F07}" type="datetimeFigureOut">
              <a:rPr lang="en-US" smtClean="0"/>
              <a:t>3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A62D3-769D-F349-A3F8-B6F214D63D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5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2D034A7-9452-C54E-A651-2368A596952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364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701FD0-309B-417B-AFE3-453F65B268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6424" y="2119184"/>
            <a:ext cx="9522781" cy="1680909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6F3B83-EC52-4BE0-805E-877A8F727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6424" y="3884582"/>
            <a:ext cx="9522781" cy="737220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z="2400"/>
              <a:t>Presenter or subtitle goes here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5779997-ADCC-AF4F-8684-E7F8EE197ED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06424" y="6316193"/>
            <a:ext cx="1832218" cy="243349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Month, ye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1345AA3-D8B8-E441-B56F-BDC684E64F94}"/>
              </a:ext>
            </a:extLst>
          </p:cNvPr>
          <p:cNvSpPr/>
          <p:nvPr/>
        </p:nvSpPr>
        <p:spPr>
          <a:xfrm>
            <a:off x="0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AB3647D-36F5-A945-9612-7CA07EEF3DE4}"/>
              </a:ext>
            </a:extLst>
          </p:cNvPr>
          <p:cNvSpPr/>
          <p:nvPr/>
        </p:nvSpPr>
        <p:spPr>
          <a:xfrm>
            <a:off x="11817096" y="0"/>
            <a:ext cx="374904" cy="6858000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C3E63C-A39E-4343-AE5E-C476DDC81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EB1014-944D-084B-9861-E75D090647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06424" y="613869"/>
            <a:ext cx="4220950" cy="484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672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056A7-D588-4A4A-9743-81A8FDEA06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63015DA-BAD6-D641-B5F3-2ED5079D3C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 b="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E5473F-D95C-3441-AFDD-17B1087611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4155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1">
            <a:extLst>
              <a:ext uri="{FF2B5EF4-FFF2-40B4-BE49-F238E27FC236}">
                <a16:creationId xmlns:a16="http://schemas.microsoft.com/office/drawing/2014/main" id="{15F6962C-2D7D-9C4E-A349-25554E83F8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69E62-1DA9-CD45-BB12-5DDC2926A4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165302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E24406D9-1546-F048-999E-B1C3935E3C50}"/>
              </a:ext>
            </a:extLst>
          </p:cNvPr>
          <p:cNvGrpSpPr/>
          <p:nvPr/>
        </p:nvGrpSpPr>
        <p:grpSpPr>
          <a:xfrm>
            <a:off x="8157625" y="524289"/>
            <a:ext cx="4034375" cy="5796153"/>
            <a:chOff x="7627349" y="524289"/>
            <a:chExt cx="4034375" cy="5796153"/>
          </a:xfrm>
          <a:solidFill>
            <a:schemeClr val="bg1"/>
          </a:solidFill>
        </p:grpSpPr>
        <p:sp>
          <p:nvSpPr>
            <p:cNvPr id="4" name="Freeform 3">
              <a:extLst>
                <a:ext uri="{FF2B5EF4-FFF2-40B4-BE49-F238E27FC236}">
                  <a16:creationId xmlns:a16="http://schemas.microsoft.com/office/drawing/2014/main" id="{D84C793A-4639-4F48-91B8-FD66287147D7}"/>
                </a:ext>
              </a:extLst>
            </p:cNvPr>
            <p:cNvSpPr/>
            <p:nvPr/>
          </p:nvSpPr>
          <p:spPr>
            <a:xfrm>
              <a:off x="7627349" y="2695674"/>
              <a:ext cx="541849" cy="1751874"/>
            </a:xfrm>
            <a:custGeom>
              <a:avLst/>
              <a:gdLst>
                <a:gd name="connsiteX0" fmla="*/ 541850 w 541849"/>
                <a:gd name="connsiteY0" fmla="*/ 0 h 1751874"/>
                <a:gd name="connsiteX1" fmla="*/ 0 w 541849"/>
                <a:gd name="connsiteY1" fmla="*/ 0 h 1751874"/>
                <a:gd name="connsiteX2" fmla="*/ 0 w 541849"/>
                <a:gd name="connsiteY2" fmla="*/ 919195 h 1751874"/>
                <a:gd name="connsiteX3" fmla="*/ 0 w 541849"/>
                <a:gd name="connsiteY3" fmla="*/ 1751874 h 1751874"/>
                <a:gd name="connsiteX4" fmla="*/ 541850 w 541849"/>
                <a:gd name="connsiteY4" fmla="*/ 1751874 h 1751874"/>
                <a:gd name="connsiteX5" fmla="*/ 54185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541850" y="0"/>
                  </a:moveTo>
                  <a:lnTo>
                    <a:pt x="0" y="0"/>
                  </a:ln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4">
              <a:extLst>
                <a:ext uri="{FF2B5EF4-FFF2-40B4-BE49-F238E27FC236}">
                  <a16:creationId xmlns:a16="http://schemas.microsoft.com/office/drawing/2014/main" id="{D7DF4404-7F59-6C45-BC46-3436E9AA2E4D}"/>
                </a:ext>
              </a:extLst>
            </p:cNvPr>
            <p:cNvSpPr/>
            <p:nvPr/>
          </p:nvSpPr>
          <p:spPr>
            <a:xfrm>
              <a:off x="8791354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4618A3F-A28E-5C47-B782-E34CDA443E92}"/>
                </a:ext>
              </a:extLst>
            </p:cNvPr>
            <p:cNvSpPr/>
            <p:nvPr/>
          </p:nvSpPr>
          <p:spPr>
            <a:xfrm>
              <a:off x="9955360" y="2695674"/>
              <a:ext cx="541849" cy="1751874"/>
            </a:xfrm>
            <a:custGeom>
              <a:avLst/>
              <a:gdLst>
                <a:gd name="connsiteX0" fmla="*/ 0 w 541849"/>
                <a:gd name="connsiteY0" fmla="*/ 0 h 1751874"/>
                <a:gd name="connsiteX1" fmla="*/ 0 w 541849"/>
                <a:gd name="connsiteY1" fmla="*/ 919195 h 1751874"/>
                <a:gd name="connsiteX2" fmla="*/ 0 w 541849"/>
                <a:gd name="connsiteY2" fmla="*/ 1751874 h 1751874"/>
                <a:gd name="connsiteX3" fmla="*/ 541850 w 541849"/>
                <a:gd name="connsiteY3" fmla="*/ 1751874 h 1751874"/>
                <a:gd name="connsiteX4" fmla="*/ 541850 w 541849"/>
                <a:gd name="connsiteY4" fmla="*/ 0 h 1751874"/>
                <a:gd name="connsiteX5" fmla="*/ 0 w 541849"/>
                <a:gd name="connsiteY5" fmla="*/ 0 h 1751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1849" h="1751874">
                  <a:moveTo>
                    <a:pt x="0" y="0"/>
                  </a:moveTo>
                  <a:lnTo>
                    <a:pt x="0" y="919195"/>
                  </a:lnTo>
                  <a:lnTo>
                    <a:pt x="0" y="1751874"/>
                  </a:lnTo>
                  <a:lnTo>
                    <a:pt x="541850" y="1751874"/>
                  </a:lnTo>
                  <a:lnTo>
                    <a:pt x="54185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98396A27-49EC-F348-860F-8E26802DC608}"/>
                </a:ext>
              </a:extLst>
            </p:cNvPr>
            <p:cNvSpPr/>
            <p:nvPr/>
          </p:nvSpPr>
          <p:spPr>
            <a:xfrm>
              <a:off x="7627349" y="1874158"/>
              <a:ext cx="4033867" cy="493467"/>
            </a:xfrm>
            <a:custGeom>
              <a:avLst/>
              <a:gdLst>
                <a:gd name="connsiteX0" fmla="*/ 0 w 4033867"/>
                <a:gd name="connsiteY0" fmla="*/ 493468 h 493467"/>
                <a:gd name="connsiteX1" fmla="*/ 2016934 w 4033867"/>
                <a:gd name="connsiteY1" fmla="*/ 493468 h 493467"/>
                <a:gd name="connsiteX2" fmla="*/ 4033868 w 4033867"/>
                <a:gd name="connsiteY2" fmla="*/ 493468 h 493467"/>
                <a:gd name="connsiteX3" fmla="*/ 4033868 w 4033867"/>
                <a:gd name="connsiteY3" fmla="*/ 0 h 493467"/>
                <a:gd name="connsiteX4" fmla="*/ 0 w 4033867"/>
                <a:gd name="connsiteY4" fmla="*/ 0 h 493467"/>
                <a:gd name="connsiteX5" fmla="*/ 0 w 4033867"/>
                <a:gd name="connsiteY5" fmla="*/ 493468 h 493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33867" h="493467">
                  <a:moveTo>
                    <a:pt x="0" y="493468"/>
                  </a:moveTo>
                  <a:lnTo>
                    <a:pt x="2016934" y="493468"/>
                  </a:lnTo>
                  <a:lnTo>
                    <a:pt x="4033868" y="493468"/>
                  </a:lnTo>
                  <a:lnTo>
                    <a:pt x="4033868" y="0"/>
                  </a:lnTo>
                  <a:lnTo>
                    <a:pt x="0" y="0"/>
                  </a:lnTo>
                  <a:lnTo>
                    <a:pt x="0" y="493468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9ACD75FE-FCEC-BF4D-91B4-4520B4DB5F1E}"/>
                </a:ext>
              </a:extLst>
            </p:cNvPr>
            <p:cNvSpPr/>
            <p:nvPr/>
          </p:nvSpPr>
          <p:spPr>
            <a:xfrm>
              <a:off x="7627349" y="524289"/>
              <a:ext cx="4033867" cy="1181785"/>
            </a:xfrm>
            <a:custGeom>
              <a:avLst/>
              <a:gdLst>
                <a:gd name="connsiteX0" fmla="*/ 2016934 w 4033867"/>
                <a:gd name="connsiteY0" fmla="*/ 0 h 1181785"/>
                <a:gd name="connsiteX1" fmla="*/ 0 w 4033867"/>
                <a:gd name="connsiteY1" fmla="*/ 672207 h 1181785"/>
                <a:gd name="connsiteX2" fmla="*/ 0 w 4033867"/>
                <a:gd name="connsiteY2" fmla="*/ 1181786 h 1181785"/>
                <a:gd name="connsiteX3" fmla="*/ 2016934 w 4033867"/>
                <a:gd name="connsiteY3" fmla="*/ 509579 h 1181785"/>
                <a:gd name="connsiteX4" fmla="*/ 4033868 w 4033867"/>
                <a:gd name="connsiteY4" fmla="*/ 1181786 h 1181785"/>
                <a:gd name="connsiteX5" fmla="*/ 4033868 w 4033867"/>
                <a:gd name="connsiteY5" fmla="*/ 672207 h 1181785"/>
                <a:gd name="connsiteX6" fmla="*/ 2016934 w 4033867"/>
                <a:gd name="connsiteY6" fmla="*/ 0 h 1181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33867" h="1181785">
                  <a:moveTo>
                    <a:pt x="2016934" y="0"/>
                  </a:moveTo>
                  <a:lnTo>
                    <a:pt x="0" y="672207"/>
                  </a:lnTo>
                  <a:lnTo>
                    <a:pt x="0" y="1181786"/>
                  </a:lnTo>
                  <a:lnTo>
                    <a:pt x="2016934" y="509579"/>
                  </a:lnTo>
                  <a:lnTo>
                    <a:pt x="4033868" y="1181786"/>
                  </a:lnTo>
                  <a:lnTo>
                    <a:pt x="4033868" y="672207"/>
                  </a:lnTo>
                  <a:lnTo>
                    <a:pt x="2016934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8FC8E4B5-0CBF-864B-9110-D197114B5BD8}"/>
                </a:ext>
              </a:extLst>
            </p:cNvPr>
            <p:cNvSpPr/>
            <p:nvPr/>
          </p:nvSpPr>
          <p:spPr>
            <a:xfrm>
              <a:off x="7627349" y="440860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116 h 1071548"/>
                <a:gd name="connsiteX6" fmla="*/ 2539753 w 4034375"/>
                <a:gd name="connsiteY6" fmla="*/ 871116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557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1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116"/>
                  </a:cubicBezTo>
                  <a:lnTo>
                    <a:pt x="2539753" y="871116"/>
                  </a:lnTo>
                  <a:cubicBezTo>
                    <a:pt x="3827582" y="871116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9DFD3E64-0D9B-8344-AE26-7E6565667679}"/>
                </a:ext>
              </a:extLst>
            </p:cNvPr>
            <p:cNvSpPr/>
            <p:nvPr/>
          </p:nvSpPr>
          <p:spPr>
            <a:xfrm>
              <a:off x="7627349" y="5248894"/>
              <a:ext cx="4034375" cy="1071548"/>
            </a:xfrm>
            <a:custGeom>
              <a:avLst/>
              <a:gdLst>
                <a:gd name="connsiteX0" fmla="*/ 4034375 w 4034375"/>
                <a:gd name="connsiteY0" fmla="*/ 0 h 1071548"/>
                <a:gd name="connsiteX1" fmla="*/ 2540261 w 4034375"/>
                <a:gd name="connsiteY1" fmla="*/ 366993 h 1071548"/>
                <a:gd name="connsiteX2" fmla="*/ 1493988 w 4034375"/>
                <a:gd name="connsiteY2" fmla="*/ 366993 h 1071548"/>
                <a:gd name="connsiteX3" fmla="*/ 0 w 4034375"/>
                <a:gd name="connsiteY3" fmla="*/ 567298 h 1071548"/>
                <a:gd name="connsiteX4" fmla="*/ 0 w 4034375"/>
                <a:gd name="connsiteY4" fmla="*/ 1071548 h 1071548"/>
                <a:gd name="connsiteX5" fmla="*/ 1493988 w 4034375"/>
                <a:gd name="connsiteY5" fmla="*/ 871243 h 1071548"/>
                <a:gd name="connsiteX6" fmla="*/ 2539753 w 4034375"/>
                <a:gd name="connsiteY6" fmla="*/ 871243 h 1071548"/>
                <a:gd name="connsiteX7" fmla="*/ 4033868 w 4034375"/>
                <a:gd name="connsiteY7" fmla="*/ 504124 h 107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4375" h="1071548">
                  <a:moveTo>
                    <a:pt x="4034375" y="0"/>
                  </a:moveTo>
                  <a:cubicBezTo>
                    <a:pt x="4023591" y="29684"/>
                    <a:pt x="3828089" y="366993"/>
                    <a:pt x="2540261" y="366993"/>
                  </a:cubicBezTo>
                  <a:lnTo>
                    <a:pt x="1493988" y="366993"/>
                  </a:lnTo>
                  <a:cubicBezTo>
                    <a:pt x="173174" y="377142"/>
                    <a:pt x="25373" y="549031"/>
                    <a:pt x="0" y="567298"/>
                  </a:cubicBezTo>
                  <a:lnTo>
                    <a:pt x="0" y="1071548"/>
                  </a:lnTo>
                  <a:cubicBezTo>
                    <a:pt x="25373" y="1053154"/>
                    <a:pt x="173174" y="881265"/>
                    <a:pt x="1493988" y="871243"/>
                  </a:cubicBezTo>
                  <a:lnTo>
                    <a:pt x="2539753" y="871243"/>
                  </a:lnTo>
                  <a:cubicBezTo>
                    <a:pt x="3827582" y="871243"/>
                    <a:pt x="4023084" y="533808"/>
                    <a:pt x="4033868" y="504124"/>
                  </a:cubicBez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9A52CD8B-2E97-4342-8DBF-61223C03F534}"/>
                </a:ext>
              </a:extLst>
            </p:cNvPr>
            <p:cNvSpPr/>
            <p:nvPr/>
          </p:nvSpPr>
          <p:spPr>
            <a:xfrm>
              <a:off x="11119366" y="2695674"/>
              <a:ext cx="541849" cy="1661807"/>
            </a:xfrm>
            <a:custGeom>
              <a:avLst/>
              <a:gdLst>
                <a:gd name="connsiteX0" fmla="*/ 0 w 541849"/>
                <a:gd name="connsiteY0" fmla="*/ 0 h 1661807"/>
                <a:gd name="connsiteX1" fmla="*/ 0 w 541849"/>
                <a:gd name="connsiteY1" fmla="*/ 1661807 h 1661807"/>
                <a:gd name="connsiteX2" fmla="*/ 541849 w 541849"/>
                <a:gd name="connsiteY2" fmla="*/ 1382725 h 1661807"/>
                <a:gd name="connsiteX3" fmla="*/ 541849 w 541849"/>
                <a:gd name="connsiteY3" fmla="*/ 0 h 1661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849" h="1661807">
                  <a:moveTo>
                    <a:pt x="0" y="0"/>
                  </a:moveTo>
                  <a:lnTo>
                    <a:pt x="0" y="1661807"/>
                  </a:lnTo>
                  <a:cubicBezTo>
                    <a:pt x="444035" y="1559688"/>
                    <a:pt x="534618" y="1402261"/>
                    <a:pt x="541849" y="1382725"/>
                  </a:cubicBezTo>
                  <a:lnTo>
                    <a:pt x="541849" y="0"/>
                  </a:lnTo>
                  <a:close/>
                </a:path>
              </a:pathLst>
            </a:custGeom>
            <a:grpFill/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892808"/>
            <a:ext cx="7315200" cy="2852737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divider</a:t>
            </a:r>
          </a:p>
        </p:txBody>
      </p:sp>
    </p:spTree>
    <p:extLst>
      <p:ext uri="{BB962C8B-B14F-4D97-AF65-F5344CB8AC3E}">
        <p14:creationId xmlns:p14="http://schemas.microsoft.com/office/powerpoint/2010/main" val="3806537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70432" y="1920240"/>
            <a:ext cx="7444408" cy="2576378"/>
          </a:xfrm>
        </p:spPr>
        <p:txBody>
          <a:bodyPr anchor="ctr"/>
          <a:lstStyle>
            <a:lvl1pPr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quot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42999A3-BC06-724D-AB6B-6565ED0B151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1170432" y="4626864"/>
            <a:ext cx="3657599" cy="914401"/>
          </a:xfrm>
        </p:spPr>
        <p:txBody>
          <a:bodyPr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en-US"/>
              <a:t>Author of quo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3A591-BBA0-C146-B4F7-E675205282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7381801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o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71193-550B-4245-9C3C-F188194A2A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0080" y="1796841"/>
            <a:ext cx="10911840" cy="2852737"/>
          </a:xfrm>
        </p:spPr>
        <p:txBody>
          <a:bodyPr anchor="ctr"/>
          <a:lstStyle>
            <a:lvl1pPr>
              <a:lnSpc>
                <a:spcPct val="100000"/>
              </a:lnSpc>
              <a:defRPr sz="5400">
                <a:solidFill>
                  <a:schemeClr val="accent2"/>
                </a:solidFill>
              </a:defRPr>
            </a:lvl1pPr>
          </a:lstStyle>
          <a:p>
            <a:r>
              <a:rPr lang="en-US"/>
              <a:t>Factoid teal—Georgia font in sentence case. Use this slide for hero statement.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0A040A92-7E8A-6B43-AD38-D5F4F6C96A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6BDDC8-3CC6-624A-9AFB-E2F2B73BA9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8915692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7544FB2-F954-1A44-B73B-FB2C88EF59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43063" y="2987114"/>
            <a:ext cx="7705874" cy="883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338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2587A6-FADF-CA4B-92D7-011DFD3E1E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7038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2587A6-FADF-CA4B-92D7-011DFD3E1E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336F34-49E0-4A7C-A020-3CF62B0F86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6FCD3D-BE75-4AB7-AF91-4934F3ADAA5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4pPr marL="917575" indent="-233363">
              <a:buFont typeface="Wingdings" pitchFamily="2" charset="2"/>
              <a:buChar char="§"/>
              <a:defRPr/>
            </a:lvl4pPr>
            <a:lvl5pPr marL="1146175" indent="-234950">
              <a:buSzPct val="90000"/>
              <a:buFont typeface="System Font Regular"/>
              <a:buChar char="–"/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7898C508-098E-8641-956A-DD8F7B008B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F9743-0A9D-2345-B04A-C049C5CEE7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379434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C3BE6-2E2A-4A2D-A3F5-C50D273712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0079" y="2029842"/>
            <a:ext cx="518464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75C9D9-E2F8-49F1-974F-B06A783A1E1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40079" y="1719072"/>
            <a:ext cx="5184648" cy="310771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B17A10F-FA16-489F-B6F5-AF30FC09B40C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61112" y="1719072"/>
            <a:ext cx="5183188" cy="310770"/>
          </a:xfrm>
        </p:spPr>
        <p:txBody>
          <a:bodyPr anchor="t"/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28EC26D-D076-400E-AA91-3DB2533CB7B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61112" y="2029842"/>
            <a:ext cx="5183188" cy="3715321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ECB684-FDD4-594C-98A0-429D85877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608995E-8074-C54D-B812-031E33AAB3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10992-4247-0644-B81C-8D5480478C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113905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1">
          <p15:clr>
            <a:srgbClr val="FBAE40"/>
          </p15:clr>
        </p15:guide>
        <p15:guide id="3" pos="7274">
          <p15:clr>
            <a:srgbClr val="FBAE40"/>
          </p15:clr>
        </p15:guide>
        <p15:guide id="5" pos="3997">
          <p15:clr>
            <a:srgbClr val="FBAE40"/>
          </p15:clr>
        </p15:guide>
        <p15:guide id="6" pos="367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8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2700" y="1719072"/>
            <a:ext cx="5184648" cy="402336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718913-5E8E-2E44-862B-D47884C2F9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32BC4998-B6F1-DA42-B41F-97DBCEF72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EBE4E73-5259-334F-AE3B-9FF8EABC02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88204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74">
          <p15:clr>
            <a:srgbClr val="FBAE40"/>
          </p15:clr>
        </p15:guide>
        <p15:guide id="3" pos="400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01DFA6-8F9A-4F40-94EB-5AC4A5BBC72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943295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1719072"/>
            <a:ext cx="705231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1719072"/>
            <a:ext cx="3200400" cy="402336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CBECED5-E724-994C-A697-E6EB072DB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492594FB-1602-454E-A30E-06B1DBF354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2CE710-5EBE-7347-8470-8ABE73F49B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3357973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7">
          <p15:clr>
            <a:srgbClr val="FBAE40"/>
          </p15:clr>
        </p15:guide>
        <p15:guide id="3" pos="2421">
          <p15:clr>
            <a:srgbClr val="FBAE40"/>
          </p15:clr>
        </p15:guide>
        <p15:guide id="4" pos="2829">
          <p15:clr>
            <a:srgbClr val="FBAE40"/>
          </p15:clr>
        </p15:guide>
        <p15:guide id="5" pos="4849">
          <p15:clr>
            <a:srgbClr val="FBAE40"/>
          </p15:clr>
        </p15:guide>
        <p15:guide id="6" pos="525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C4BC3F-D36A-4333-B1D9-A713B6650EE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4007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283BAA-2DD0-4F73-A72D-9AF490563F4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9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195327D-A4B7-F745-A0BE-0958545B2B09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7D6A64-436E-B549-A738-5BD4E26E780C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40081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952872-2D99-6A44-AF8E-4C81084A6F5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9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F3B5EBD-761F-0640-A0DD-A2788D2EC78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hart tit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BDA8CCF-CB0C-BA45-8FC4-6297C0E0A9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9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BA7599CD-99BD-894F-B372-42E0EEA2CE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DCCCC4-4E98-AF48-BBF9-0C662158A2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62" y="5158431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182F045-38A8-AF47-A713-4B59F2866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8BDEB4C-56D6-2044-957E-BC1323994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8188A1-BE1F-C149-9AF3-45615472F9A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213512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97">
          <p15:clr>
            <a:srgbClr val="FBAE40"/>
          </p15:clr>
        </p15:guide>
        <p15:guide id="3" pos="2421">
          <p15:clr>
            <a:srgbClr val="FBAE40"/>
          </p15:clr>
        </p15:guide>
        <p15:guide id="4" pos="4849">
          <p15:clr>
            <a:srgbClr val="FBAE40"/>
          </p15:clr>
        </p15:guide>
        <p15:guide id="6" orient="horz" pos="3086">
          <p15:clr>
            <a:srgbClr val="FBAE40"/>
          </p15:clr>
        </p15:guide>
        <p15:guide id="7" orient="horz" pos="3246">
          <p15:clr>
            <a:srgbClr val="FBAE40"/>
          </p15:clr>
        </p15:guide>
        <p15:guide id="10" pos="5250">
          <p15:clr>
            <a:srgbClr val="FBAE40"/>
          </p15:clr>
        </p15:guide>
        <p15:guide id="11" pos="282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/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CB66F7F6-8B6A-B445-A778-7A10C4FCF71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91989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6C0EC67-5E7D-4248-962B-AE294DEFEA5C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343900" y="2227342"/>
            <a:ext cx="3200400" cy="267096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Table or chart placeholder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F9940F-D9D9-B343-B51A-10E10791BBBA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491989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F6B0467-EE62-FA42-87FD-561619A6F8F5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343900" y="1719072"/>
            <a:ext cx="3200400" cy="273193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Optional chart title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FF451F5-7748-C949-A955-B66D566CC1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1989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6F2712F-0BAD-3D43-AA96-DAC8654C441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43900" y="5158432"/>
            <a:ext cx="3200400" cy="586732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Body copy. Keep the messaging clear, concise and to the point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07704E5-505F-E644-8B15-34742134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739B3E2D-28D6-FC4F-A2A2-C7D0817162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36F5F35-DBF5-C84A-BD5D-8F32E68A84A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50F76B-FA29-B84B-8387-E972C023858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7700" y="1729029"/>
            <a:ext cx="3195638" cy="4016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762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421">
          <p15:clr>
            <a:srgbClr val="FBAE40"/>
          </p15:clr>
        </p15:guide>
        <p15:guide id="5" pos="2826">
          <p15:clr>
            <a:srgbClr val="FBAE40"/>
          </p15:clr>
        </p15:guide>
        <p15:guide id="6" pos="4849">
          <p15:clr>
            <a:srgbClr val="FBAE40"/>
          </p15:clr>
        </p15:guide>
        <p15:guide id="8" pos="525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2D978A-4E91-7243-A687-476C0D745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able titl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8DD65DAE-F216-2E49-ACAE-54335084F531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40080" y="1719072"/>
            <a:ext cx="10902950" cy="4026091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7BB281B-EE6E-F544-82BA-54DA61494E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759" y="5838568"/>
            <a:ext cx="7058029" cy="274981"/>
          </a:xfrm>
        </p:spPr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  <a:lvl2pPr marL="4763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add a footnote for this page or delete placeholder if not in us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9D87B-3C1F-B940-B037-28498C722E9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evelopment Office   |   Confidential—do not copy or distribute</a:t>
            </a:r>
          </a:p>
        </p:txBody>
      </p:sp>
    </p:spTree>
    <p:extLst>
      <p:ext uri="{BB962C8B-B14F-4D97-AF65-F5344CB8AC3E}">
        <p14:creationId xmlns:p14="http://schemas.microsoft.com/office/powerpoint/2010/main" val="521454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EEDC80-A6AE-4D71-8BED-4E85BC9C5D6B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8120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30" imgH="531" progId="TCLayout.ActiveDocument.1">
                  <p:embed/>
                </p:oleObj>
              </mc:Choice>
              <mc:Fallback>
                <p:oleObj name="think-cell Slide" r:id="rId19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EEDC80-A6AE-4D71-8BED-4E85BC9C5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8D99B60-9158-488E-8BCC-87D5B5BCDFBF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8B7701-A632-3D47-AED3-D4B4366A6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6324" y="6362188"/>
            <a:ext cx="7707596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Development Office   |   Confidential—do not copy or distribute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7BB7F75-52C6-40D5-8388-347CF6B3B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50" y="523875"/>
            <a:ext cx="10902950" cy="9565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809464-EA83-4E37-8A02-61A16616FE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1350" y="1719072"/>
            <a:ext cx="10902950" cy="4023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0DC250-A7AB-924E-9520-907FE62E8E91}"/>
              </a:ext>
            </a:extLst>
          </p:cNvPr>
          <p:cNvSpPr txBox="1"/>
          <p:nvPr/>
        </p:nvSpPr>
        <p:spPr>
          <a:xfrm>
            <a:off x="11200986" y="6362188"/>
            <a:ext cx="3509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9D3C46F-8465-6948-8418-CACF6F0DE93E}" type="slidenum">
              <a:rPr lang="en-US" sz="1000" smtClean="0">
                <a:solidFill>
                  <a:schemeClr val="tx1"/>
                </a:solidFill>
              </a:rPr>
              <a:pPr algn="r"/>
              <a:t>‹#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B496F443-CBC9-D942-BCF6-03ABB20B2848}"/>
              </a:ext>
            </a:extLst>
          </p:cNvPr>
          <p:cNvSpPr/>
          <p:nvPr userDrawn="1"/>
        </p:nvSpPr>
        <p:spPr>
          <a:xfrm>
            <a:off x="640080" y="6246683"/>
            <a:ext cx="241400" cy="345756"/>
          </a:xfrm>
          <a:custGeom>
            <a:avLst/>
            <a:gdLst>
              <a:gd name="connsiteX0" fmla="*/ 241400 w 241400"/>
              <a:gd name="connsiteY0" fmla="*/ 281835 h 345756"/>
              <a:gd name="connsiteX1" fmla="*/ 241400 w 241400"/>
              <a:gd name="connsiteY1" fmla="*/ 311912 h 345756"/>
              <a:gd name="connsiteX2" fmla="*/ 151992 w 241400"/>
              <a:gd name="connsiteY2" fmla="*/ 333806 h 345756"/>
              <a:gd name="connsiteX3" fmla="*/ 89407 w 241400"/>
              <a:gd name="connsiteY3" fmla="*/ 333806 h 345756"/>
              <a:gd name="connsiteX4" fmla="*/ 0 w 241400"/>
              <a:gd name="connsiteY4" fmla="*/ 345756 h 345756"/>
              <a:gd name="connsiteX5" fmla="*/ 0 w 241400"/>
              <a:gd name="connsiteY5" fmla="*/ 315680 h 345756"/>
              <a:gd name="connsiteX6" fmla="*/ 89407 w 241400"/>
              <a:gd name="connsiteY6" fmla="*/ 303730 h 345756"/>
              <a:gd name="connsiteX7" fmla="*/ 151992 w 241400"/>
              <a:gd name="connsiteY7" fmla="*/ 303730 h 345756"/>
              <a:gd name="connsiteX8" fmla="*/ 241400 w 241400"/>
              <a:gd name="connsiteY8" fmla="*/ 281835 h 345756"/>
              <a:gd name="connsiteX9" fmla="*/ 241400 w 241400"/>
              <a:gd name="connsiteY9" fmla="*/ 231708 h 345756"/>
              <a:gd name="connsiteX10" fmla="*/ 241400 w 241400"/>
              <a:gd name="connsiteY10" fmla="*/ 261785 h 345756"/>
              <a:gd name="connsiteX11" fmla="*/ 151992 w 241400"/>
              <a:gd name="connsiteY11" fmla="*/ 283679 h 345756"/>
              <a:gd name="connsiteX12" fmla="*/ 89407 w 241400"/>
              <a:gd name="connsiteY12" fmla="*/ 283679 h 345756"/>
              <a:gd name="connsiteX13" fmla="*/ 0 w 241400"/>
              <a:gd name="connsiteY13" fmla="*/ 295631 h 345756"/>
              <a:gd name="connsiteX14" fmla="*/ 0 w 241400"/>
              <a:gd name="connsiteY14" fmla="*/ 265553 h 345756"/>
              <a:gd name="connsiteX15" fmla="*/ 89407 w 241400"/>
              <a:gd name="connsiteY15" fmla="*/ 253603 h 345756"/>
              <a:gd name="connsiteX16" fmla="*/ 151992 w 241400"/>
              <a:gd name="connsiteY16" fmla="*/ 253603 h 345756"/>
              <a:gd name="connsiteX17" fmla="*/ 241400 w 241400"/>
              <a:gd name="connsiteY17" fmla="*/ 231708 h 345756"/>
              <a:gd name="connsiteX18" fmla="*/ 208972 w 241400"/>
              <a:gd name="connsiteY18" fmla="*/ 129529 h 345756"/>
              <a:gd name="connsiteX19" fmla="*/ 241399 w 241400"/>
              <a:gd name="connsiteY19" fmla="*/ 129529 h 345756"/>
              <a:gd name="connsiteX20" fmla="*/ 241399 w 241400"/>
              <a:gd name="connsiteY20" fmla="*/ 211987 h 345756"/>
              <a:gd name="connsiteX21" fmla="*/ 208972 w 241400"/>
              <a:gd name="connsiteY21" fmla="*/ 228655 h 345756"/>
              <a:gd name="connsiteX22" fmla="*/ 139314 w 241400"/>
              <a:gd name="connsiteY22" fmla="*/ 129529 h 345756"/>
              <a:gd name="connsiteX23" fmla="*/ 171742 w 241400"/>
              <a:gd name="connsiteY23" fmla="*/ 129529 h 345756"/>
              <a:gd name="connsiteX24" fmla="*/ 171742 w 241400"/>
              <a:gd name="connsiteY24" fmla="*/ 234032 h 345756"/>
              <a:gd name="connsiteX25" fmla="*/ 139314 w 241400"/>
              <a:gd name="connsiteY25" fmla="*/ 234032 h 345756"/>
              <a:gd name="connsiteX26" fmla="*/ 139314 w 241400"/>
              <a:gd name="connsiteY26" fmla="*/ 184360 h 345756"/>
              <a:gd name="connsiteX27" fmla="*/ 69657 w 241400"/>
              <a:gd name="connsiteY27" fmla="*/ 129529 h 345756"/>
              <a:gd name="connsiteX28" fmla="*/ 102085 w 241400"/>
              <a:gd name="connsiteY28" fmla="*/ 129529 h 345756"/>
              <a:gd name="connsiteX29" fmla="*/ 102085 w 241400"/>
              <a:gd name="connsiteY29" fmla="*/ 234032 h 345756"/>
              <a:gd name="connsiteX30" fmla="*/ 69657 w 241400"/>
              <a:gd name="connsiteY30" fmla="*/ 234032 h 345756"/>
              <a:gd name="connsiteX31" fmla="*/ 69657 w 241400"/>
              <a:gd name="connsiteY31" fmla="*/ 184360 h 345756"/>
              <a:gd name="connsiteX32" fmla="*/ 0 w 241400"/>
              <a:gd name="connsiteY32" fmla="*/ 129529 h 345756"/>
              <a:gd name="connsiteX33" fmla="*/ 32428 w 241400"/>
              <a:gd name="connsiteY33" fmla="*/ 129529 h 345756"/>
              <a:gd name="connsiteX34" fmla="*/ 32428 w 241400"/>
              <a:gd name="connsiteY34" fmla="*/ 234032 h 345756"/>
              <a:gd name="connsiteX35" fmla="*/ 0 w 241400"/>
              <a:gd name="connsiteY35" fmla="*/ 234032 h 345756"/>
              <a:gd name="connsiteX36" fmla="*/ 0 w 241400"/>
              <a:gd name="connsiteY36" fmla="*/ 184360 h 345756"/>
              <a:gd name="connsiteX37" fmla="*/ 0 w 241400"/>
              <a:gd name="connsiteY37" fmla="*/ 80523 h 345756"/>
              <a:gd name="connsiteX38" fmla="*/ 241400 w 241400"/>
              <a:gd name="connsiteY38" fmla="*/ 80523 h 345756"/>
              <a:gd name="connsiteX39" fmla="*/ 241400 w 241400"/>
              <a:gd name="connsiteY39" fmla="*/ 109957 h 345756"/>
              <a:gd name="connsiteX40" fmla="*/ 120700 w 241400"/>
              <a:gd name="connsiteY40" fmla="*/ 109957 h 345756"/>
              <a:gd name="connsiteX41" fmla="*/ 0 w 241400"/>
              <a:gd name="connsiteY41" fmla="*/ 109957 h 345756"/>
              <a:gd name="connsiteX42" fmla="*/ 120700 w 241400"/>
              <a:gd name="connsiteY42" fmla="*/ 0 h 345756"/>
              <a:gd name="connsiteX43" fmla="*/ 241400 w 241400"/>
              <a:gd name="connsiteY43" fmla="*/ 40101 h 345756"/>
              <a:gd name="connsiteX44" fmla="*/ 241400 w 241400"/>
              <a:gd name="connsiteY44" fmla="*/ 70498 h 345756"/>
              <a:gd name="connsiteX45" fmla="*/ 120700 w 241400"/>
              <a:gd name="connsiteY45" fmla="*/ 30397 h 345756"/>
              <a:gd name="connsiteX46" fmla="*/ 0 w 241400"/>
              <a:gd name="connsiteY46" fmla="*/ 70498 h 345756"/>
              <a:gd name="connsiteX47" fmla="*/ 0 w 241400"/>
              <a:gd name="connsiteY47" fmla="*/ 40101 h 34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41400" h="345756">
                <a:moveTo>
                  <a:pt x="241400" y="281835"/>
                </a:moveTo>
                <a:lnTo>
                  <a:pt x="241400" y="311912"/>
                </a:lnTo>
                <a:cubicBezTo>
                  <a:pt x="240758" y="313681"/>
                  <a:pt x="229057" y="333806"/>
                  <a:pt x="151992" y="333806"/>
                </a:cubicBezTo>
                <a:lnTo>
                  <a:pt x="89407" y="333806"/>
                </a:lnTo>
                <a:cubicBezTo>
                  <a:pt x="10361" y="334411"/>
                  <a:pt x="1505" y="344664"/>
                  <a:pt x="0" y="345756"/>
                </a:cubicBezTo>
                <a:lnTo>
                  <a:pt x="0" y="315680"/>
                </a:lnTo>
                <a:cubicBezTo>
                  <a:pt x="1505" y="314588"/>
                  <a:pt x="10361" y="304335"/>
                  <a:pt x="89407" y="303730"/>
                </a:cubicBezTo>
                <a:lnTo>
                  <a:pt x="151992" y="303730"/>
                </a:lnTo>
                <a:cubicBezTo>
                  <a:pt x="229057" y="303730"/>
                  <a:pt x="240758" y="283604"/>
                  <a:pt x="241400" y="281835"/>
                </a:cubicBezTo>
                <a:close/>
                <a:moveTo>
                  <a:pt x="241400" y="231708"/>
                </a:moveTo>
                <a:lnTo>
                  <a:pt x="241400" y="261785"/>
                </a:lnTo>
                <a:cubicBezTo>
                  <a:pt x="240758" y="263554"/>
                  <a:pt x="229057" y="283679"/>
                  <a:pt x="151992" y="283679"/>
                </a:cubicBezTo>
                <a:lnTo>
                  <a:pt x="89407" y="283679"/>
                </a:lnTo>
                <a:cubicBezTo>
                  <a:pt x="10361" y="284284"/>
                  <a:pt x="1505" y="294539"/>
                  <a:pt x="0" y="295631"/>
                </a:cubicBezTo>
                <a:lnTo>
                  <a:pt x="0" y="265553"/>
                </a:lnTo>
                <a:cubicBezTo>
                  <a:pt x="1505" y="264461"/>
                  <a:pt x="10361" y="254208"/>
                  <a:pt x="89407" y="253603"/>
                </a:cubicBezTo>
                <a:lnTo>
                  <a:pt x="151992" y="253603"/>
                </a:lnTo>
                <a:cubicBezTo>
                  <a:pt x="229057" y="253603"/>
                  <a:pt x="240758" y="233478"/>
                  <a:pt x="241400" y="231708"/>
                </a:cubicBezTo>
                <a:close/>
                <a:moveTo>
                  <a:pt x="208972" y="129529"/>
                </a:moveTo>
                <a:lnTo>
                  <a:pt x="241399" y="129529"/>
                </a:lnTo>
                <a:lnTo>
                  <a:pt x="241399" y="211987"/>
                </a:lnTo>
                <a:cubicBezTo>
                  <a:pt x="240971" y="213169"/>
                  <a:pt x="235558" y="222563"/>
                  <a:pt x="208972" y="228655"/>
                </a:cubicBezTo>
                <a:close/>
                <a:moveTo>
                  <a:pt x="139314" y="129529"/>
                </a:moveTo>
                <a:lnTo>
                  <a:pt x="171742" y="129529"/>
                </a:lnTo>
                <a:lnTo>
                  <a:pt x="171742" y="234032"/>
                </a:lnTo>
                <a:lnTo>
                  <a:pt x="139314" y="234032"/>
                </a:lnTo>
                <a:lnTo>
                  <a:pt x="139314" y="184360"/>
                </a:lnTo>
                <a:close/>
                <a:moveTo>
                  <a:pt x="69657" y="129529"/>
                </a:moveTo>
                <a:lnTo>
                  <a:pt x="102085" y="129529"/>
                </a:lnTo>
                <a:lnTo>
                  <a:pt x="102085" y="234032"/>
                </a:lnTo>
                <a:lnTo>
                  <a:pt x="69657" y="234032"/>
                </a:lnTo>
                <a:lnTo>
                  <a:pt x="69657" y="184360"/>
                </a:lnTo>
                <a:close/>
                <a:moveTo>
                  <a:pt x="0" y="129529"/>
                </a:moveTo>
                <a:lnTo>
                  <a:pt x="32428" y="129529"/>
                </a:lnTo>
                <a:lnTo>
                  <a:pt x="32428" y="234032"/>
                </a:lnTo>
                <a:lnTo>
                  <a:pt x="0" y="234032"/>
                </a:lnTo>
                <a:lnTo>
                  <a:pt x="0" y="184360"/>
                </a:lnTo>
                <a:close/>
                <a:moveTo>
                  <a:pt x="0" y="80523"/>
                </a:moveTo>
                <a:lnTo>
                  <a:pt x="241400" y="80523"/>
                </a:lnTo>
                <a:lnTo>
                  <a:pt x="241400" y="109957"/>
                </a:lnTo>
                <a:lnTo>
                  <a:pt x="120700" y="109957"/>
                </a:lnTo>
                <a:lnTo>
                  <a:pt x="0" y="109957"/>
                </a:lnTo>
                <a:close/>
                <a:moveTo>
                  <a:pt x="120700" y="0"/>
                </a:moveTo>
                <a:lnTo>
                  <a:pt x="241400" y="40101"/>
                </a:lnTo>
                <a:lnTo>
                  <a:pt x="241400" y="70498"/>
                </a:lnTo>
                <a:lnTo>
                  <a:pt x="120700" y="30397"/>
                </a:lnTo>
                <a:lnTo>
                  <a:pt x="0" y="70498"/>
                </a:lnTo>
                <a:lnTo>
                  <a:pt x="0" y="40101"/>
                </a:lnTo>
                <a:close/>
              </a:path>
            </a:pathLst>
          </a:custGeom>
          <a:solidFill>
            <a:srgbClr val="009CA6"/>
          </a:solidFill>
          <a:ln w="1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97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1963" indent="-228600" algn="l" defTabSz="914400" rtl="0" eaLnBrk="1" latinLnBrk="0" hangingPunct="1">
        <a:lnSpc>
          <a:spcPct val="100000"/>
        </a:lnSpc>
        <a:spcBef>
          <a:spcPts val="0"/>
        </a:spcBef>
        <a:buSzPct val="95000"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8975" indent="-220663" algn="l" defTabSz="914400" rtl="0" eaLnBrk="1" latinLnBrk="0" hangingPunct="1">
        <a:lnSpc>
          <a:spcPct val="100000"/>
        </a:lnSpc>
        <a:spcBef>
          <a:spcPts val="0"/>
        </a:spcBef>
        <a:buFont typeface="Calibri" panose="020F0502020204030204" pitchFamily="34" charset="0"/>
        <a:buChar char="‒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917575" indent="-233363" algn="l" defTabSz="914400" rtl="0" eaLnBrk="1" latinLnBrk="0" hangingPunct="1">
        <a:lnSpc>
          <a:spcPct val="100000"/>
        </a:lnSpc>
        <a:spcBef>
          <a:spcPts val="0"/>
        </a:spcBef>
        <a:buSzPct val="8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146175" indent="-234950" algn="l" defTabSz="914400" rtl="0" eaLnBrk="1" latinLnBrk="0" hangingPunct="1">
        <a:lnSpc>
          <a:spcPct val="100000"/>
        </a:lnSpc>
        <a:spcBef>
          <a:spcPts val="0"/>
        </a:spcBef>
        <a:buSzPct val="90000"/>
        <a:buFont typeface="System Font Regular"/>
        <a:buChar char="–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27">
          <p15:clr>
            <a:srgbClr val="F26B43"/>
          </p15:clr>
        </p15:guide>
        <p15:guide id="2" pos="401">
          <p15:clr>
            <a:srgbClr val="F26B43"/>
          </p15:clr>
        </p15:guide>
        <p15:guide id="3" pos="7274">
          <p15:clr>
            <a:srgbClr val="F26B43"/>
          </p15:clr>
        </p15:guide>
        <p15:guide id="4" orient="horz" pos="938">
          <p15:clr>
            <a:srgbClr val="F26B43"/>
          </p15:clr>
        </p15:guide>
        <p15:guide id="5" orient="horz" pos="1082">
          <p15:clr>
            <a:srgbClr val="F26B43"/>
          </p15:clr>
        </p15:guide>
        <p15:guide id="6" orient="horz" pos="3619">
          <p15:clr>
            <a:srgbClr val="F26B43"/>
          </p15:clr>
        </p15:guide>
        <p15:guide id="7" orient="horz" pos="4084">
          <p15:clr>
            <a:srgbClr val="F26B43"/>
          </p15:clr>
        </p15:guide>
        <p15:guide id="8" orient="horz" pos="38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5769AB8-FA42-47FB-BF11-F291B9667885}"/>
              </a:ext>
            </a:extLst>
          </p:cNvPr>
          <p:cNvSpPr/>
          <p:nvPr/>
        </p:nvSpPr>
        <p:spPr>
          <a:xfrm>
            <a:off x="0" y="1"/>
            <a:ext cx="12192000" cy="9821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B6D8373-77D0-E84F-A3C1-0FE4349032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B6D8373-77D0-E84F-A3C1-0FE4349032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01E27CA-5DA0-8543-8063-E95C1A78AA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latin typeface="Georgia" panose="02040502050405020303" pitchFamily="18" charset="0"/>
              <a:ea typeface="+mj-ea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89A09BD-ACC0-BF4B-93E7-B64B4EC9C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222" y="319829"/>
            <a:ext cx="10902950" cy="591693"/>
          </a:xfrm>
        </p:spPr>
        <p:txBody>
          <a:bodyPr/>
          <a:lstStyle/>
          <a:p>
            <a:r>
              <a:rPr lang="en-US" dirty="0"/>
              <a:t>JOIN THE </a:t>
            </a:r>
            <a:r>
              <a:rPr lang="en-US" dirty="0">
                <a:solidFill>
                  <a:srgbClr val="FFC000"/>
                </a:solidFill>
              </a:rPr>
              <a:t>[INSERT TEAM NAME] </a:t>
            </a:r>
            <a:r>
              <a:rPr lang="en-US" dirty="0"/>
              <a:t>Boston 10K TEAM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5671B3-68B7-FF41-A00B-4A407CE22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6212" y="1233582"/>
            <a:ext cx="11599576" cy="5152836"/>
          </a:xfrm>
        </p:spPr>
        <p:txBody>
          <a:bodyPr/>
          <a:lstStyle/>
          <a:p>
            <a:r>
              <a:rPr lang="en-US" sz="2800" dirty="0">
                <a:solidFill>
                  <a:schemeClr val="accent2"/>
                </a:solidFill>
              </a:rPr>
              <a:t>Join the </a:t>
            </a:r>
            <a:r>
              <a:rPr lang="en-US" sz="2800" b="1" dirty="0">
                <a:solidFill>
                  <a:schemeClr val="accent2"/>
                </a:solidFill>
              </a:rPr>
              <a:t>[insert team name] </a:t>
            </a:r>
            <a:r>
              <a:rPr lang="en-US" sz="2800" dirty="0">
                <a:solidFill>
                  <a:schemeClr val="accent2"/>
                </a:solidFill>
              </a:rPr>
              <a:t>team and help us raise money to support the </a:t>
            </a:r>
            <a:r>
              <a:rPr lang="en-US" sz="2800" b="1" dirty="0">
                <a:solidFill>
                  <a:schemeClr val="accent2"/>
                </a:solidFill>
              </a:rPr>
              <a:t>[insert fund name] </a:t>
            </a:r>
            <a:r>
              <a:rPr lang="en-US" sz="2800" dirty="0">
                <a:solidFill>
                  <a:schemeClr val="accent2"/>
                </a:solidFill>
              </a:rPr>
              <a:t>at the Brigham!</a:t>
            </a:r>
          </a:p>
          <a:p>
            <a:endParaRPr lang="en-US" sz="2800" b="1" dirty="0">
              <a:solidFill>
                <a:schemeClr val="accent2"/>
              </a:solidFill>
            </a:endParaRPr>
          </a:p>
          <a:p>
            <a:r>
              <a:rPr lang="en-US" sz="2800" b="1" dirty="0">
                <a:solidFill>
                  <a:schemeClr val="accent2"/>
                </a:solidFill>
              </a:rPr>
              <a:t>Event: </a:t>
            </a:r>
            <a:r>
              <a:rPr lang="en-US" sz="2800" dirty="0">
                <a:solidFill>
                  <a:schemeClr val="accent2"/>
                </a:solidFill>
              </a:rPr>
              <a:t>Boston 10K</a:t>
            </a:r>
          </a:p>
          <a:p>
            <a:r>
              <a:rPr lang="en-US" sz="2800" b="1" dirty="0">
                <a:solidFill>
                  <a:schemeClr val="accent2"/>
                </a:solidFill>
              </a:rPr>
              <a:t>Date: </a:t>
            </a:r>
            <a:r>
              <a:rPr lang="en-US" sz="2800" dirty="0">
                <a:solidFill>
                  <a:schemeClr val="accent2"/>
                </a:solidFill>
              </a:rPr>
              <a:t>June 23, 2024</a:t>
            </a:r>
          </a:p>
          <a:p>
            <a:endParaRPr lang="en-US" sz="2800" b="1" dirty="0">
              <a:solidFill>
                <a:schemeClr val="accent2"/>
              </a:solidFill>
            </a:endParaRPr>
          </a:p>
          <a:p>
            <a:r>
              <a:rPr lang="en-US" sz="2800" b="1" dirty="0">
                <a:solidFill>
                  <a:schemeClr val="accent2"/>
                </a:solidFill>
              </a:rPr>
              <a:t>Register here:</a:t>
            </a:r>
          </a:p>
          <a:p>
            <a:pPr marL="457200" indent="-457200">
              <a:buAutoNum type="arabicPeriod"/>
            </a:pPr>
            <a:r>
              <a:rPr lang="en-US" sz="2800" dirty="0">
                <a:solidFill>
                  <a:schemeClr val="accent2"/>
                </a:solidFill>
              </a:rPr>
              <a:t>[insert URL to team page]</a:t>
            </a:r>
          </a:p>
          <a:p>
            <a:pPr marL="457200" indent="-457200">
              <a:buAutoNum type="arabicPeriod"/>
            </a:pPr>
            <a:r>
              <a:rPr lang="en-US" sz="2800" dirty="0">
                <a:solidFill>
                  <a:schemeClr val="accent2"/>
                </a:solidFill>
              </a:rPr>
              <a:t>Select “Join Team”</a:t>
            </a:r>
          </a:p>
          <a:p>
            <a:endParaRPr lang="en-US" b="1" dirty="0">
              <a:solidFill>
                <a:schemeClr val="accent2"/>
              </a:solidFill>
            </a:endParaRPr>
          </a:p>
          <a:p>
            <a:endParaRPr lang="en-US" b="1" dirty="0">
              <a:solidFill>
                <a:schemeClr val="accent2"/>
              </a:solidFill>
            </a:endParaRPr>
          </a:p>
          <a:p>
            <a:r>
              <a:rPr lang="en-US" sz="2400" dirty="0">
                <a:solidFill>
                  <a:schemeClr val="accent2"/>
                </a:solidFill>
              </a:rPr>
              <a:t>Questions? Contact team captain </a:t>
            </a:r>
            <a:r>
              <a:rPr lang="en-US" sz="2400" b="1" dirty="0">
                <a:solidFill>
                  <a:schemeClr val="accent2"/>
                </a:solidFill>
              </a:rPr>
              <a:t>[insert name] </a:t>
            </a:r>
            <a:r>
              <a:rPr lang="en-US" sz="2400" dirty="0">
                <a:solidFill>
                  <a:schemeClr val="accent2"/>
                </a:solidFill>
              </a:rPr>
              <a:t>at </a:t>
            </a:r>
            <a:r>
              <a:rPr lang="en-US" sz="2400" b="1" dirty="0">
                <a:solidFill>
                  <a:schemeClr val="accent2"/>
                </a:solidFill>
              </a:rPr>
              <a:t>[insert email]</a:t>
            </a:r>
            <a:r>
              <a:rPr lang="en-US" sz="2400" dirty="0">
                <a:solidFill>
                  <a:schemeClr val="accent2"/>
                </a:solidFill>
              </a:rPr>
              <a:t>. </a:t>
            </a:r>
            <a:endParaRPr lang="en-US" sz="2400" dirty="0"/>
          </a:p>
          <a:p>
            <a:pPr marL="468312" lvl="2" indent="0">
              <a:buNone/>
            </a:pP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8F1E18A-42F8-47CB-B077-925F4BA868C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506" y="1933991"/>
            <a:ext cx="5325594" cy="3553236"/>
          </a:xfrm>
          <a:prstGeom prst="rect">
            <a:avLst/>
          </a:prstGeom>
          <a:ln w="38100">
            <a:solidFill>
              <a:srgbClr val="FFC000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489724F-E833-431A-BC16-6A56A4154868}"/>
              </a:ext>
            </a:extLst>
          </p:cNvPr>
          <p:cNvSpPr txBox="1"/>
          <p:nvPr/>
        </p:nvSpPr>
        <p:spPr>
          <a:xfrm>
            <a:off x="7264401" y="3520109"/>
            <a:ext cx="2895600" cy="381000"/>
          </a:xfrm>
          <a:prstGeom prst="rect">
            <a:avLst/>
          </a:prstGeom>
          <a:solidFill>
            <a:srgbClr val="FFCC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DD YOUR PICTU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32F0475-BB92-4F03-9A59-97C46F8C7D80}"/>
              </a:ext>
            </a:extLst>
          </p:cNvPr>
          <p:cNvSpPr/>
          <p:nvPr/>
        </p:nvSpPr>
        <p:spPr>
          <a:xfrm>
            <a:off x="11341100" y="6301446"/>
            <a:ext cx="554688" cy="3318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13" name="Picture 12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3632266-41BA-4C1A-8904-836A045CE36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130" b="44034"/>
          <a:stretch/>
        </p:blipFill>
        <p:spPr>
          <a:xfrm>
            <a:off x="9177223" y="5653584"/>
            <a:ext cx="2441221" cy="626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243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xCUTrzp..khx_FJMRB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UPWhZqkO9w3kgiWHC.vQ"/>
</p:tagLst>
</file>

<file path=ppt/theme/theme1.xml><?xml version="1.0" encoding="utf-8"?>
<a:theme xmlns:a="http://schemas.openxmlformats.org/drawingml/2006/main" name="MGB_standard_template_082020">
  <a:themeElements>
    <a:clrScheme name="MGB">
      <a:dk1>
        <a:srgbClr val="000000"/>
      </a:dk1>
      <a:lt1>
        <a:srgbClr val="FFFFFF"/>
      </a:lt1>
      <a:dk2>
        <a:srgbClr val="B0E3E2"/>
      </a:dk2>
      <a:lt2>
        <a:srgbClr val="808080"/>
      </a:lt2>
      <a:accent1>
        <a:srgbClr val="009AA3"/>
      </a:accent1>
      <a:accent2>
        <a:srgbClr val="003A93"/>
      </a:accent2>
      <a:accent3>
        <a:srgbClr val="0077CA"/>
      </a:accent3>
      <a:accent4>
        <a:srgbClr val="CD7F00"/>
      </a:accent4>
      <a:accent5>
        <a:srgbClr val="5C068A"/>
      </a:accent5>
      <a:accent6>
        <a:srgbClr val="CC0037"/>
      </a:accent6>
      <a:hlink>
        <a:srgbClr val="0077CA"/>
      </a:hlink>
      <a:folHlink>
        <a:srgbClr val="5C068A"/>
      </a:folHlink>
    </a:clrScheme>
    <a:fontScheme name="MGB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GB_standard_template_022021" id="{D73F0B1C-26EB-3F44-8AE0-474B42F0F61E}" vid="{68716181-CC01-2345-AB9B-FFE4016E16B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ot_x0020_Off_x0020_the_x0020_Press xmlns="e42d3368-638d-467d-a591-df1fa941aaa0">false</Hot_x0020_Off_x0020_the_x0020_Press>
    <Content_x0020_Category xmlns="e42d3368-638d-467d-a591-df1fa941aaa0">Presentation &amp; Meeting Templates</Content_x0020_Category>
    <Staff_x0020_Resource xmlns="e42d3368-638d-467d-a591-df1fa941aaa0">
      <UserInfo>
        <DisplayName/>
        <AccountId xsi:nil="true"/>
        <AccountType/>
      </UserInfo>
    </Staff_x0020_Resourc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BWHDEV Document" ma:contentTypeID="0x0101006101B285891D2A4B93AF2AD91F92C712005A7828A13445E74BA55F2047F9255C2D" ma:contentTypeVersion="14" ma:contentTypeDescription="Default Content Type for BWH Development Office" ma:contentTypeScope="" ma:versionID="a5550c70c3ec75ea6c764a181cc4dfd9">
  <xsd:schema xmlns:xsd="http://www.w3.org/2001/XMLSchema" xmlns:xs="http://www.w3.org/2001/XMLSchema" xmlns:p="http://schemas.microsoft.com/office/2006/metadata/properties" xmlns:ns2="e42d3368-638d-467d-a591-df1fa941aaa0" xmlns:ns3="d50ebdde-505a-4982-bfe4-5a064ed90f05" targetNamespace="http://schemas.microsoft.com/office/2006/metadata/properties" ma:root="true" ma:fieldsID="c84761b61d7e13b1a2abc5612a26a7b0" ns2:_="" ns3:_="">
    <xsd:import namespace="e42d3368-638d-467d-a591-df1fa941aaa0"/>
    <xsd:import namespace="d50ebdde-505a-4982-bfe4-5a064ed90f05"/>
    <xsd:element name="properties">
      <xsd:complexType>
        <xsd:sequence>
          <xsd:element name="documentManagement">
            <xsd:complexType>
              <xsd:all>
                <xsd:element ref="ns2:Content_x0020_Category" minOccurs="0"/>
                <xsd:element ref="ns2:Hot_x0020_Off_x0020_the_x0020_Press" minOccurs="0"/>
                <xsd:element ref="ns2:Staff_x0020_Resourc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2d3368-638d-467d-a591-df1fa941aaa0" elementFormDefault="qualified">
    <xsd:import namespace="http://schemas.microsoft.com/office/2006/documentManagement/types"/>
    <xsd:import namespace="http://schemas.microsoft.com/office/infopath/2007/PartnerControls"/>
    <xsd:element name="Content_x0020_Category" ma:index="8" nillable="true" ma:displayName="Content Category" ma:default="Letter Templates &amp; Materials" ma:format="Dropdown" ma:internalName="Content_x0020_Category">
      <xsd:simpleType>
        <xsd:restriction base="dms:Choice">
          <xsd:enumeration value="Letter Templates &amp; Materials"/>
          <xsd:enumeration value="Presentation &amp; Meeting Templates"/>
          <xsd:enumeration value="Report Templates"/>
          <xsd:enumeration value="Style Guides &amp; Specifications"/>
        </xsd:restriction>
      </xsd:simpleType>
    </xsd:element>
    <xsd:element name="Hot_x0020_Off_x0020_the_x0020_Press" ma:index="9" nillable="true" ma:displayName="Hot Off the Press" ma:default="0" ma:internalName="Hot_x0020_Off_x0020_the_x0020_Press">
      <xsd:simpleType>
        <xsd:restriction base="dms:Boolean"/>
      </xsd:simpleType>
    </xsd:element>
    <xsd:element name="Staff_x0020_Resource" ma:index="10" nillable="true" ma:displayName="Staff Resource" ma:list="UserInfo" ma:SharePointGroup="0" ma:internalName="Staff_x0020_Resourc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0" nillable="true" ma:displayName="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0ebdde-505a-4982-bfe4-5a064ed90f0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421ED63-ADDD-4B4C-9689-2235F53A9D6A}">
  <ds:schemaRefs>
    <ds:schemaRef ds:uri="e42d3368-638d-467d-a591-df1fa941aaa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2D4FEDB-C7DF-4AA9-AA2F-E6DA87566DEC}">
  <ds:schemaRefs>
    <ds:schemaRef ds:uri="d50ebdde-505a-4982-bfe4-5a064ed90f05"/>
    <ds:schemaRef ds:uri="e42d3368-638d-467d-a591-df1fa941aaa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2DA7CAF-5BCB-4CB9-B8A5-E15AC2D897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GB_standard_template_082020</Template>
  <TotalTime>734</TotalTime>
  <Words>79</Words>
  <Application>Microsoft Office PowerPoint</Application>
  <PresentationFormat>Widescreen</PresentationFormat>
  <Paragraphs>1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Georgia</vt:lpstr>
      <vt:lpstr>System Font Regular</vt:lpstr>
      <vt:lpstr>Wingdings</vt:lpstr>
      <vt:lpstr>MGB_standard_template_082020</vt:lpstr>
      <vt:lpstr>think-cell Slide</vt:lpstr>
      <vt:lpstr>JOIN THE [INSERT TEAM NAME] Boston 10K TEAM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slide</dc:title>
  <dc:creator>Charlotte Barton</dc:creator>
  <cp:lastModifiedBy>Hickey, Allegra Johnson</cp:lastModifiedBy>
  <cp:revision>44</cp:revision>
  <dcterms:created xsi:type="dcterms:W3CDTF">2021-06-01T13:45:23Z</dcterms:created>
  <dcterms:modified xsi:type="dcterms:W3CDTF">2024-03-18T19:2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01B285891D2A4B93AF2AD91F92C712005A7828A13445E74BA55F2047F9255C2D</vt:lpwstr>
  </property>
</Properties>
</file>